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1"/>
  </p:sldMasterIdLst>
  <p:sldIdLst>
    <p:sldId id="261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104" d="100"/>
          <a:sy n="104" d="100"/>
        </p:scale>
        <p:origin x="182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202785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 March 2021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2D1E4E33-0B61-41F2-86F7-DF09AF22152F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84207532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6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OR Y VENTAJAS</a:t>
                      </a:r>
                      <a:endParaRPr kumimoji="0" lang="es-ES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CIÓN</a:t>
                      </a:r>
                      <a:endParaRPr kumimoji="0" lang="es-ES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noProof="1">
                          <a:solidFill>
                            <a:schemeClr val="tx1"/>
                          </a:solidFill>
                          <a:latin typeface="+mn-lt"/>
                        </a:rPr>
                        <a:t>Reducción de la desviación del flujo de producto.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noProof="1">
                          <a:solidFill>
                            <a:schemeClr val="tx1"/>
                          </a:solidFill>
                          <a:latin typeface="+mn-lt"/>
                        </a:rPr>
                        <a:t>Mayor enjuague del cuello.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noProof="1">
                          <a:solidFill>
                            <a:schemeClr val="tx1"/>
                          </a:solidFill>
                          <a:latin typeface="+mn-lt"/>
                        </a:rPr>
                        <a:t>Riesgo limitado de residuo de producto en el cuello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a solución actual con embudo y tubos de inmersión fue diseñada para limitar la formación de espuma en el cuello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a nueva solución es aún mejor gracias a un embudo con un orificio más pequeño para reducir la desviación del flujo.</a:t>
                      </a:r>
                    </a:p>
                    <a:p>
                      <a:pPr marL="162000" marR="0" lvl="0" indent="-162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es-ES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Reduzca la desviación del flujo de producto</a:t>
            </a:r>
            <a:endParaRPr lang="es-E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32834" y="1191471"/>
            <a:ext cx="7997825" cy="306387"/>
          </a:xfrm>
        </p:spPr>
        <p:txBody>
          <a:bodyPr vert="horz" lIns="0" tIns="0" rIns="0" bIns="0" rtlCol="0">
            <a:spAutoFit/>
          </a:bodyPr>
          <a:lstStyle/>
          <a:p>
            <a:r>
              <a:rPr dirty="0"/>
              <a:t>Tubos de inmersión actualizados en válvula de llenado para reducir la desviación de flujo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Calidad del producto, optimización de costo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o: Llenadoras asépticas (FMa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ódigo de catálogo: SP005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8" name="Picture 2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1800" y="4041068"/>
            <a:ext cx="1662403" cy="1373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2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119" y="4041068"/>
            <a:ext cx="1661256" cy="1378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Rechteck 11">
            <a:extLst>
              <a:ext uri="{FF2B5EF4-FFF2-40B4-BE49-F238E27FC236}">
                <a16:creationId xmlns:a16="http://schemas.microsoft.com/office/drawing/2014/main" id="{D550B3D1-B264-4C38-B725-9AD1730C0215}"/>
              </a:ext>
            </a:extLst>
          </p:cNvPr>
          <p:cNvSpPr/>
          <p:nvPr/>
        </p:nvSpPr>
        <p:spPr>
          <a:xfrm>
            <a:off x="4771170" y="1743075"/>
            <a:ext cx="3878540" cy="40004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ESCRIPCIÓN</a:t>
            </a:r>
            <a:endParaRPr kumimoji="0" lang="es-ES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42404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14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LIOMT</vt:lpstr>
      <vt:lpstr>think-cell Folie</vt:lpstr>
      <vt:lpstr>Reduzca la desviación del flujo de product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减少产品灌装流量偏差</dc:title>
  <dc:creator>Gouriou, Lydie</dc:creator>
  <cp:lastModifiedBy>Sorega, Dan</cp:lastModifiedBy>
  <cp:revision>6</cp:revision>
  <dcterms:created xsi:type="dcterms:W3CDTF">2014-07-21T08:52:21Z</dcterms:created>
  <dcterms:modified xsi:type="dcterms:W3CDTF">2021-03-05T15:19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08-19T12:47:08.5698383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6T11:02:42.8356799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6T11:02:42.8416799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